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</p:sldMasterIdLst>
  <p:notesMasterIdLst>
    <p:notesMasterId r:id="rId5"/>
  </p:notesMasterIdLst>
  <p:handoutMasterIdLst>
    <p:handoutMasterId r:id="rId6"/>
  </p:handoutMasterIdLst>
  <p:sldIdLst>
    <p:sldId id="3352" r:id="rId2"/>
    <p:sldId id="398" r:id="rId3"/>
    <p:sldId id="3353" r:id="rId4"/>
  </p:sldIdLst>
  <p:sldSz cx="9144000" cy="5143500" type="screen16x9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201">
          <p15:clr>
            <a:srgbClr val="A4A3A4"/>
          </p15:clr>
        </p15:guide>
        <p15:guide id="10" pos="294" userDrawn="1">
          <p15:clr>
            <a:srgbClr val="A4A3A4"/>
          </p15:clr>
        </p15:guide>
        <p15:guide id="11" pos="5466" userDrawn="1">
          <p15:clr>
            <a:srgbClr val="A4A3A4"/>
          </p15:clr>
        </p15:guide>
        <p15:guide id="12" pos="1519">
          <p15:clr>
            <a:srgbClr val="A4A3A4"/>
          </p15:clr>
        </p15:guide>
        <p15:guide id="13" pos="4150">
          <p15:clr>
            <a:srgbClr val="A4A3A4"/>
          </p15:clr>
        </p15:guide>
        <p15:guide id="14" pos="1610">
          <p15:clr>
            <a:srgbClr val="A4A3A4"/>
          </p15:clr>
        </p15:guide>
        <p15:guide id="15" pos="2925">
          <p15:clr>
            <a:srgbClr val="A4A3A4"/>
          </p15:clr>
        </p15:guide>
        <p15:guide id="16" pos="4241">
          <p15:clr>
            <a:srgbClr val="A4A3A4"/>
          </p15:clr>
        </p15:guide>
        <p15:guide id="17" orient="horz" pos="821" userDrawn="1">
          <p15:clr>
            <a:srgbClr val="A4A3A4"/>
          </p15:clr>
        </p15:guide>
        <p15:guide id="21" orient="horz" pos="2964" userDrawn="1">
          <p15:clr>
            <a:srgbClr val="A4A3A4"/>
          </p15:clr>
        </p15:guide>
        <p15:guide id="22" orient="horz" pos="1926">
          <p15:clr>
            <a:srgbClr val="A4A3A4"/>
          </p15:clr>
        </p15:guide>
        <p15:guide id="23" orient="horz" pos="1847" userDrawn="1">
          <p15:clr>
            <a:srgbClr val="A4A3A4"/>
          </p15:clr>
        </p15:guide>
        <p15:guide id="24" pos="28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7A3B67-9739-B40A-673E-021715A07BD3}" name="Microsoft Office-Benutzer" initials="MO" userId="Microsoft Office-Benutze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ler, Lars Niklas" initials="JLN" lastIdx="1" clrIdx="0">
    <p:extLst>
      <p:ext uri="{19B8F6BF-5375-455C-9EA6-DF929625EA0E}">
        <p15:presenceInfo xmlns:p15="http://schemas.microsoft.com/office/powerpoint/2012/main" userId="S-1-5-21-3376845409-2206383633-3759421415-68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FEFEFE"/>
    <a:srgbClr val="1689AF"/>
    <a:srgbClr val="009CCC"/>
    <a:srgbClr val="30A2FF"/>
    <a:srgbClr val="003560"/>
    <a:srgbClr val="003C7C"/>
    <a:srgbClr val="5353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32" autoAdjust="0"/>
    <p:restoredTop sz="84860" autoAdjust="0"/>
  </p:normalViewPr>
  <p:slideViewPr>
    <p:cSldViewPr showGuides="1">
      <p:cViewPr varScale="1">
        <p:scale>
          <a:sx n="150" d="100"/>
          <a:sy n="150" d="100"/>
        </p:scale>
        <p:origin x="1083" y="62"/>
      </p:cViewPr>
      <p:guideLst>
        <p:guide orient="horz" pos="4201"/>
        <p:guide pos="294"/>
        <p:guide pos="5466"/>
        <p:guide pos="1519"/>
        <p:guide pos="4150"/>
        <p:guide pos="1610"/>
        <p:guide pos="2925"/>
        <p:guide pos="4241"/>
        <p:guide orient="horz" pos="821"/>
        <p:guide orient="horz" pos="2964"/>
        <p:guide orient="horz" pos="1926"/>
        <p:guide orient="horz" pos="1847"/>
        <p:guide pos="2835"/>
      </p:guideLst>
    </p:cSldViewPr>
  </p:slideViewPr>
  <p:outlineViewPr>
    <p:cViewPr>
      <p:scale>
        <a:sx n="33" d="100"/>
        <a:sy n="33" d="100"/>
      </p:scale>
      <p:origin x="0" y="-10128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125" d="100"/>
          <a:sy n="125" d="100"/>
        </p:scale>
        <p:origin x="3012" y="-1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7393A-4A23-4924-9457-2699CB8A0D49}" type="datetimeFigureOut">
              <a:rPr lang="de-DE" smtClean="0"/>
              <a:t>26.03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0D1DD4-943E-4173-A5D2-C7A046D0980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94354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322FA5-ACD8-480E-91DB-C08AE7C5EEED}" type="datetimeFigureOut">
              <a:rPr lang="de-DE" smtClean="0"/>
              <a:t>26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61988-3118-414D-A571-26E5ECCCF07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7676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E7BEC-314E-D358-B247-EAEB765D7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858" name="Rectangle 7">
            <a:extLst>
              <a:ext uri="{FF2B5EF4-FFF2-40B4-BE49-F238E27FC236}">
                <a16:creationId xmlns:a16="http://schemas.microsoft.com/office/drawing/2014/main" id="{1F88E332-DB5A-2E00-389F-6634E5B3FCD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25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525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525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525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525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18E0574-368E-4959-992F-0A9B5CAA59BB}" type="slidenum">
              <a:rPr lang="de-DE" smtClean="0">
                <a:solidFill>
                  <a:prstClr val="black"/>
                </a:solidFill>
                <a:latin typeface="Akkurat Office" pitchFamily="50" charset="0"/>
              </a:rPr>
              <a:pPr eaLnBrk="1" hangingPunct="1"/>
              <a:t>2</a:t>
            </a:fld>
            <a:endParaRPr lang="de-DE">
              <a:solidFill>
                <a:prstClr val="black"/>
              </a:solidFill>
              <a:latin typeface="Akkurat Office" pitchFamily="50" charset="0"/>
            </a:endParaRPr>
          </a:p>
        </p:txBody>
      </p:sp>
      <p:sp>
        <p:nvSpPr>
          <p:cNvPr id="505859" name="Rectangle 2">
            <a:extLst>
              <a:ext uri="{FF2B5EF4-FFF2-40B4-BE49-F238E27FC236}">
                <a16:creationId xmlns:a16="http://schemas.microsoft.com/office/drawing/2014/main" id="{F508DAD7-EAB9-F119-3672-A28935C43EC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1288" y="768350"/>
            <a:ext cx="6819900" cy="3836988"/>
          </a:xfrm>
          <a:ln/>
        </p:spPr>
      </p:sp>
      <p:sp>
        <p:nvSpPr>
          <p:cNvPr id="505860" name="Rectangle 3">
            <a:extLst>
              <a:ext uri="{FF2B5EF4-FFF2-40B4-BE49-F238E27FC236}">
                <a16:creationId xmlns:a16="http://schemas.microsoft.com/office/drawing/2014/main" id="{26BD1EAD-7B75-2A3B-D17F-06919656108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algn="just" eaLnBrk="1" hangingPunct="1"/>
            <a:endParaRPr lang="de-DE" dirty="0">
              <a:solidFill>
                <a:srgbClr val="00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0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52C0B9A-F654-4E06-A926-AA4D7ECE16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4" y="1303735"/>
            <a:ext cx="8207375" cy="3400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D7E42A-514C-474E-91A0-815203FA1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237532167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Text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313" y="1303735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2555876" y="1303735"/>
            <a:ext cx="1944687" cy="218827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43438" y="1303735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5"/>
          </p:nvPr>
        </p:nvSpPr>
        <p:spPr>
          <a:xfrm>
            <a:off x="6732588" y="1303735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6"/>
          </p:nvPr>
        </p:nvSpPr>
        <p:spPr>
          <a:xfrm>
            <a:off x="468312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27"/>
          </p:nvPr>
        </p:nvSpPr>
        <p:spPr>
          <a:xfrm>
            <a:off x="2555875" y="3057525"/>
            <a:ext cx="1944116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28"/>
          </p:nvPr>
        </p:nvSpPr>
        <p:spPr>
          <a:xfrm>
            <a:off x="4643437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29"/>
          </p:nvPr>
        </p:nvSpPr>
        <p:spPr>
          <a:xfrm>
            <a:off x="6732587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7"/>
          </p:nvPr>
        </p:nvSpPr>
        <p:spPr>
          <a:xfrm>
            <a:off x="468313" y="1519963"/>
            <a:ext cx="1943100" cy="1430405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30"/>
          </p:nvPr>
        </p:nvSpPr>
        <p:spPr>
          <a:xfrm>
            <a:off x="2557463" y="1519963"/>
            <a:ext cx="1943100" cy="1430405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4" name="Inhaltsplatzhalter 10"/>
          <p:cNvSpPr>
            <a:spLocks noGrp="1"/>
          </p:cNvSpPr>
          <p:nvPr>
            <p:ph sz="quarter" idx="31"/>
          </p:nvPr>
        </p:nvSpPr>
        <p:spPr>
          <a:xfrm>
            <a:off x="4639990" y="1519963"/>
            <a:ext cx="1943100" cy="1430405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32"/>
          </p:nvPr>
        </p:nvSpPr>
        <p:spPr>
          <a:xfrm>
            <a:off x="6732588" y="1519963"/>
            <a:ext cx="1943100" cy="1430405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7" name="Inhaltsplatzhalter 10"/>
          <p:cNvSpPr>
            <a:spLocks noGrp="1"/>
          </p:cNvSpPr>
          <p:nvPr>
            <p:ph sz="quarter" idx="33"/>
          </p:nvPr>
        </p:nvSpPr>
        <p:spPr>
          <a:xfrm>
            <a:off x="468312" y="3271620"/>
            <a:ext cx="1943100" cy="1432540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8" name="Inhaltsplatzhalter 10"/>
          <p:cNvSpPr>
            <a:spLocks noGrp="1"/>
          </p:cNvSpPr>
          <p:nvPr>
            <p:ph sz="quarter" idx="34"/>
          </p:nvPr>
        </p:nvSpPr>
        <p:spPr>
          <a:xfrm>
            <a:off x="2557462" y="3271620"/>
            <a:ext cx="1943100" cy="1432540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9" name="Inhaltsplatzhalter 10"/>
          <p:cNvSpPr>
            <a:spLocks noGrp="1"/>
          </p:cNvSpPr>
          <p:nvPr>
            <p:ph sz="quarter" idx="35"/>
          </p:nvPr>
        </p:nvSpPr>
        <p:spPr>
          <a:xfrm>
            <a:off x="4639989" y="3271620"/>
            <a:ext cx="1943100" cy="1432540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40" name="Inhaltsplatzhalter 10"/>
          <p:cNvSpPr>
            <a:spLocks noGrp="1"/>
          </p:cNvSpPr>
          <p:nvPr>
            <p:ph sz="quarter" idx="36"/>
          </p:nvPr>
        </p:nvSpPr>
        <p:spPr>
          <a:xfrm>
            <a:off x="6732587" y="3271620"/>
            <a:ext cx="1943100" cy="1432540"/>
          </a:xfrm>
          <a:solidFill>
            <a:schemeClr val="bg1"/>
          </a:solidFill>
          <a:ln w="127000">
            <a:noFill/>
          </a:ln>
        </p:spPr>
        <p:txBody>
          <a:bodyPr tIns="72000"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734EC28-4BC7-4BB4-B63C-1B113AC4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367782193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Akz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10"/>
          <p:cNvSpPr>
            <a:spLocks noGrp="1"/>
          </p:cNvSpPr>
          <p:nvPr>
            <p:ph sz="quarter" idx="16"/>
          </p:nvPr>
        </p:nvSpPr>
        <p:spPr>
          <a:xfrm rot="900000">
            <a:off x="6691996" y="1325920"/>
            <a:ext cx="1943101" cy="1612809"/>
          </a:xfrm>
          <a:solidFill>
            <a:srgbClr val="003C7C"/>
          </a:solidFill>
          <a:ln w="127000"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3pPr>
            <a:lvl4pPr marL="13716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8288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57463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68313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8"/>
          </p:nvPr>
        </p:nvSpPr>
        <p:spPr>
          <a:xfrm>
            <a:off x="4645025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19"/>
          </p:nvPr>
        </p:nvSpPr>
        <p:spPr>
          <a:xfrm>
            <a:off x="2555876" y="3057525"/>
            <a:ext cx="1943100" cy="1645341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0"/>
          </p:nvPr>
        </p:nvSpPr>
        <p:spPr>
          <a:xfrm>
            <a:off x="466726" y="3057525"/>
            <a:ext cx="1943100" cy="1645341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1"/>
          </p:nvPr>
        </p:nvSpPr>
        <p:spPr>
          <a:xfrm>
            <a:off x="4643438" y="3057525"/>
            <a:ext cx="1943100" cy="1645341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27" name="Bildplatzhalter 6"/>
          <p:cNvSpPr>
            <a:spLocks noGrp="1"/>
          </p:cNvSpPr>
          <p:nvPr>
            <p:ph type="pic" sz="quarter" idx="22"/>
          </p:nvPr>
        </p:nvSpPr>
        <p:spPr>
          <a:xfrm>
            <a:off x="6732588" y="3058819"/>
            <a:ext cx="1943100" cy="1645341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12814E2-6F6B-4DA3-B396-4902C4DBF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1166980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Bild und Text Akz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10"/>
          <p:cNvSpPr>
            <a:spLocks noGrp="1"/>
          </p:cNvSpPr>
          <p:nvPr>
            <p:ph sz="quarter" idx="23"/>
          </p:nvPr>
        </p:nvSpPr>
        <p:spPr>
          <a:xfrm rot="900000">
            <a:off x="6706203" y="1326117"/>
            <a:ext cx="1943101" cy="1601201"/>
          </a:xfrm>
          <a:solidFill>
            <a:srgbClr val="003C7C"/>
          </a:solidFill>
          <a:ln w="127000"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3pPr>
            <a:lvl4pPr marL="13716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8288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57463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68313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8"/>
          </p:nvPr>
        </p:nvSpPr>
        <p:spPr>
          <a:xfrm>
            <a:off x="4645025" y="1303735"/>
            <a:ext cx="1943100" cy="1646633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9"/>
          </p:nvPr>
        </p:nvSpPr>
        <p:spPr>
          <a:xfrm>
            <a:off x="466726" y="3057525"/>
            <a:ext cx="1943100" cy="1645341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20"/>
          </p:nvPr>
        </p:nvSpPr>
        <p:spPr>
          <a:xfrm>
            <a:off x="2555876" y="3057525"/>
            <a:ext cx="1943100" cy="1645341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4643438" y="3057525"/>
            <a:ext cx="1943100" cy="1645341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22"/>
          </p:nvPr>
        </p:nvSpPr>
        <p:spPr>
          <a:xfrm>
            <a:off x="6732589" y="3058819"/>
            <a:ext cx="1943100" cy="1645341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5AE3C27-9B94-436D-88F1-8796C4E20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1BEC8E66-C127-3593-2703-721EF9911E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665609931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22"/>
          </p:nvPr>
        </p:nvSpPr>
        <p:spPr>
          <a:xfrm>
            <a:off x="468313" y="1303735"/>
            <a:ext cx="1943100" cy="340042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55875" y="1303734"/>
            <a:ext cx="403225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3"/>
          </p:nvPr>
        </p:nvSpPr>
        <p:spPr>
          <a:xfrm>
            <a:off x="2555875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24"/>
          </p:nvPr>
        </p:nvSpPr>
        <p:spPr>
          <a:xfrm>
            <a:off x="4645025" y="3057525"/>
            <a:ext cx="4030663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6732588" y="1303735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A8B3F42-A39C-4031-9E52-348B95469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0D576D63-0ADE-03CD-4E04-6E3B596104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443326496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2 + 1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21"/>
          </p:nvPr>
        </p:nvSpPr>
        <p:spPr>
          <a:xfrm>
            <a:off x="468313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2"/>
          </p:nvPr>
        </p:nvSpPr>
        <p:spPr>
          <a:xfrm>
            <a:off x="2557463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3"/>
          </p:nvPr>
        </p:nvSpPr>
        <p:spPr>
          <a:xfrm>
            <a:off x="468313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24"/>
          </p:nvPr>
        </p:nvSpPr>
        <p:spPr>
          <a:xfrm>
            <a:off x="2555875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DF92C89-B023-4D3C-8BE1-AF478BBF7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4645024" y="1303735"/>
            <a:ext cx="4030664" cy="3400425"/>
          </a:xfrm>
          <a:noFill/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600">
                <a:solidFill>
                  <a:srgbClr val="003C7C"/>
                </a:solidFill>
              </a:defRPr>
            </a:lvl1pPr>
            <a:lvl2pPr marL="447675" indent="-171450">
              <a:buFont typeface="Wingdings" panose="05000000000000000000" pitchFamily="2" charset="2"/>
              <a:buChar char="§"/>
              <a:defRPr sz="1400">
                <a:solidFill>
                  <a:srgbClr val="003C7C"/>
                </a:solidFill>
              </a:defRPr>
            </a:lvl2pPr>
            <a:lvl3pPr marL="719138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3pPr>
            <a:lvl4pPr marL="98742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4pPr>
            <a:lvl5pPr marL="1250950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38F91F0E-D94A-46BC-3E18-014277A2CD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3714480129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x 2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4645024" y="1303735"/>
            <a:ext cx="4030664" cy="3400425"/>
          </a:xfrm>
          <a:noFill/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600">
                <a:solidFill>
                  <a:srgbClr val="003C7C"/>
                </a:solidFill>
              </a:defRPr>
            </a:lvl1pPr>
            <a:lvl2pPr marL="447675" indent="-171450">
              <a:buFont typeface="Wingdings" panose="05000000000000000000" pitchFamily="2" charset="2"/>
              <a:buChar char="§"/>
              <a:defRPr sz="1400">
                <a:solidFill>
                  <a:srgbClr val="003C7C"/>
                </a:solidFill>
              </a:defRPr>
            </a:lvl2pPr>
            <a:lvl3pPr marL="719138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3pPr>
            <a:lvl4pPr marL="98742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4pPr>
            <a:lvl5pPr marL="1250950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313" y="1303735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2555876" y="1303735"/>
            <a:ext cx="1944687" cy="218827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6"/>
          </p:nvPr>
        </p:nvSpPr>
        <p:spPr>
          <a:xfrm>
            <a:off x="468312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27"/>
          </p:nvPr>
        </p:nvSpPr>
        <p:spPr>
          <a:xfrm>
            <a:off x="2555875" y="3057525"/>
            <a:ext cx="1944116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519964"/>
            <a:ext cx="1943100" cy="143040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8"/>
          </p:nvPr>
        </p:nvSpPr>
        <p:spPr>
          <a:xfrm>
            <a:off x="2557463" y="1519964"/>
            <a:ext cx="1943100" cy="143040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9"/>
          </p:nvPr>
        </p:nvSpPr>
        <p:spPr>
          <a:xfrm>
            <a:off x="468312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30"/>
          </p:nvPr>
        </p:nvSpPr>
        <p:spPr>
          <a:xfrm>
            <a:off x="2557462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B94C522-BB95-4D94-BDDC-F8879585D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BD6B2CCC-DAF4-C2A3-CFBC-3CC8EA58B4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1275586055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1 + 2 x 2 Akz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23"/>
          </p:nvPr>
        </p:nvSpPr>
        <p:spPr>
          <a:xfrm rot="900000">
            <a:off x="6709189" y="1334965"/>
            <a:ext cx="1943101" cy="1593095"/>
          </a:xfrm>
          <a:solidFill>
            <a:srgbClr val="003C7C"/>
          </a:solidFill>
          <a:ln w="127000"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3pPr>
            <a:lvl4pPr marL="13716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828800" indent="0" algn="ctr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468313" y="1303735"/>
            <a:ext cx="4030664" cy="3400425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600">
                <a:solidFill>
                  <a:srgbClr val="003C7C"/>
                </a:solidFill>
              </a:defRPr>
            </a:lvl1pPr>
            <a:lvl2pPr marL="447675" indent="-171450">
              <a:buFont typeface="Wingdings" panose="05000000000000000000" pitchFamily="2" charset="2"/>
              <a:buChar char="§"/>
              <a:defRPr sz="1400">
                <a:solidFill>
                  <a:srgbClr val="003C7C"/>
                </a:solidFill>
              </a:defRPr>
            </a:lvl2pPr>
            <a:lvl3pPr marL="719138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3pPr>
            <a:lvl4pPr marL="98742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4pPr>
            <a:lvl5pPr marL="1250950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645025" y="1303735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8"/>
          </p:nvPr>
        </p:nvSpPr>
        <p:spPr>
          <a:xfrm>
            <a:off x="4645025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9"/>
          </p:nvPr>
        </p:nvSpPr>
        <p:spPr>
          <a:xfrm>
            <a:off x="6732588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4D41867-B40F-46C9-B045-294C185BE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6EC893E3-EA30-CCCF-C743-DEAB62104F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491444316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5"/>
            <a:ext cx="4030664" cy="340042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54B23C-BCF7-4DC4-8589-19D37A34E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45024" y="1303735"/>
            <a:ext cx="4030664" cy="3400425"/>
          </a:xfrm>
          <a:noFill/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600">
                <a:solidFill>
                  <a:srgbClr val="003C7C"/>
                </a:solidFill>
              </a:defRPr>
            </a:lvl1pPr>
            <a:lvl2pPr marL="447675" indent="-171450">
              <a:buFont typeface="Wingdings" panose="05000000000000000000" pitchFamily="2" charset="2"/>
              <a:buChar char="§"/>
              <a:defRPr sz="1400">
                <a:solidFill>
                  <a:srgbClr val="003C7C"/>
                </a:solidFill>
              </a:defRPr>
            </a:lvl2pPr>
            <a:lvl3pPr marL="719138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3pPr>
            <a:lvl4pPr marL="98742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4pPr>
            <a:lvl5pPr marL="1250950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9AA30221-AC7B-E295-63B4-C62F66FDEA9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4147151257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1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6732588" y="1303735"/>
            <a:ext cx="1943100" cy="3400425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5"/>
            <a:ext cx="6119812" cy="340042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9122C32-18CD-46A0-9B41-DF4AD8633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33419E1A-1D2D-3CA2-B8CE-3CC6B85310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317527173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1 Variant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2555876" y="1303735"/>
            <a:ext cx="6119813" cy="3400425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600">
                <a:solidFill>
                  <a:srgbClr val="003C7C"/>
                </a:solidFill>
              </a:defRPr>
            </a:lvl1pPr>
            <a:lvl2pPr marL="446088" indent="-169863">
              <a:buFont typeface="Wingdings" panose="05000000000000000000" pitchFamily="2" charset="2"/>
              <a:buChar char="§"/>
              <a:defRPr sz="1400">
                <a:solidFill>
                  <a:srgbClr val="003C7C"/>
                </a:solidFill>
              </a:defRPr>
            </a:lvl2pPr>
            <a:lvl3pPr marL="719138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3pPr>
            <a:lvl4pPr marL="98742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4pPr>
            <a:lvl5pPr marL="1344613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5"/>
            <a:ext cx="1943100" cy="340042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6D58F4F-7B39-4FF1-B147-CD92DD0D6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9DE2D639-A906-AF18-1577-D71835F776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142714503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50168" y="3507854"/>
            <a:ext cx="7632080" cy="504056"/>
          </a:xfrm>
        </p:spPr>
        <p:txBody>
          <a:bodyPr anchor="t" anchorCtr="0"/>
          <a:lstStyle>
            <a:lvl1pPr algn="l">
              <a:defRPr sz="2800" baseline="0"/>
            </a:lvl1pPr>
          </a:lstStyle>
          <a:p>
            <a:r>
              <a:rPr lang="de-DE" dirty="0"/>
              <a:t>Titel 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9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-9571" y="-7434"/>
            <a:ext cx="8149451" cy="3053576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8351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6221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3840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3840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3053576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3053576"/>
              <a:gd name="connsiteX1" fmla="*/ 6962794 w 8149451"/>
              <a:gd name="connsiteY1" fmla="*/ 5053 h 3053576"/>
              <a:gd name="connsiteX2" fmla="*/ 6968351 w 8149451"/>
              <a:gd name="connsiteY2" fmla="*/ 1731459 h 3053576"/>
              <a:gd name="connsiteX3" fmla="*/ 8149451 w 8149451"/>
              <a:gd name="connsiteY3" fmla="*/ 1731459 h 3053576"/>
              <a:gd name="connsiteX4" fmla="*/ 8146276 w 8149451"/>
              <a:gd name="connsiteY4" fmla="*/ 3053576 h 3053576"/>
              <a:gd name="connsiteX5" fmla="*/ 1 w 8149451"/>
              <a:gd name="connsiteY5" fmla="*/ 3053576 h 3053576"/>
              <a:gd name="connsiteX6" fmla="*/ 0 w 8149451"/>
              <a:gd name="connsiteY6" fmla="*/ 0 h 3053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49451" h="3053576">
                <a:moveTo>
                  <a:pt x="0" y="0"/>
                </a:moveTo>
                <a:lnTo>
                  <a:pt x="6962794" y="5053"/>
                </a:lnTo>
                <a:cubicBezTo>
                  <a:pt x="6964646" y="579728"/>
                  <a:pt x="6966499" y="437646"/>
                  <a:pt x="6968351" y="1731459"/>
                </a:cubicBezTo>
                <a:lnTo>
                  <a:pt x="8149451" y="1731459"/>
                </a:lnTo>
                <a:cubicBezTo>
                  <a:pt x="8149186" y="2501397"/>
                  <a:pt x="8146541" y="2283638"/>
                  <a:pt x="8146276" y="3053576"/>
                </a:cubicBezTo>
                <a:lnTo>
                  <a:pt x="1" y="3053576"/>
                </a:lnTo>
                <a:cubicBezTo>
                  <a:pt x="1" y="1704898"/>
                  <a:pt x="0" y="1348678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264" y="4423597"/>
            <a:ext cx="1133984" cy="230831"/>
          </a:xfrm>
        </p:spPr>
        <p:txBody>
          <a:bodyPr/>
          <a:lstStyle>
            <a:lvl1pPr marL="0" indent="0" algn="r">
              <a:buNone/>
              <a:defRPr sz="1500" b="1"/>
            </a:lvl1pPr>
            <a:lvl2pPr marL="161925" indent="0">
              <a:buNone/>
              <a:defRPr sz="1500" b="1"/>
            </a:lvl2pPr>
            <a:lvl3pPr marL="396875" indent="0">
              <a:buNone/>
              <a:defRPr sz="1500" b="1"/>
            </a:lvl3pPr>
            <a:lvl4pPr marL="673100" indent="0">
              <a:buNone/>
              <a:defRPr sz="1500" b="1"/>
            </a:lvl4pPr>
            <a:lvl5pPr marL="936625" indent="0">
              <a:buNone/>
              <a:defRPr sz="1500" b="1"/>
            </a:lvl5pPr>
          </a:lstStyle>
          <a:p>
            <a:pPr lvl="0"/>
            <a:r>
              <a:rPr lang="de-DE" dirty="0"/>
              <a:t>XX.XX.20XX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508104" y="4423597"/>
            <a:ext cx="1368152" cy="230831"/>
          </a:xfrm>
        </p:spPr>
        <p:txBody>
          <a:bodyPr/>
          <a:lstStyle>
            <a:lvl1pPr marL="0" indent="0" algn="r">
              <a:buNone/>
              <a:defRPr sz="1500"/>
            </a:lvl1pPr>
            <a:lvl2pPr marL="161925" indent="0">
              <a:buNone/>
              <a:defRPr sz="1500"/>
            </a:lvl2pPr>
            <a:lvl3pPr marL="396875" indent="0">
              <a:buNone/>
              <a:defRPr sz="1500"/>
            </a:lvl3pPr>
            <a:lvl4pPr marL="673100" indent="0">
              <a:buNone/>
              <a:defRPr sz="1500"/>
            </a:lvl4pPr>
            <a:lvl5pPr marL="936625" indent="0">
              <a:buNone/>
              <a:defRPr sz="1500"/>
            </a:lvl5pPr>
          </a:lstStyle>
          <a:p>
            <a:pPr lvl="0"/>
            <a:r>
              <a:rPr lang="de-DE" dirty="0"/>
              <a:t>Ort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0168" y="4715993"/>
            <a:ext cx="7632080" cy="230831"/>
          </a:xfrm>
        </p:spPr>
        <p:txBody>
          <a:bodyPr/>
          <a:lstStyle>
            <a:lvl1pPr marL="0" indent="0">
              <a:buNone/>
              <a:defRPr sz="1500"/>
            </a:lvl1pPr>
            <a:lvl2pPr marL="161925" indent="0">
              <a:buNone/>
              <a:defRPr sz="1500"/>
            </a:lvl2pPr>
            <a:lvl3pPr marL="396875" indent="0">
              <a:buNone/>
              <a:defRPr sz="1500"/>
            </a:lvl3pPr>
            <a:lvl4pPr marL="673100" indent="0">
              <a:buNone/>
              <a:defRPr sz="1500"/>
            </a:lvl4pPr>
            <a:lvl5pPr marL="936625" indent="0">
              <a:buNone/>
              <a:defRPr sz="1500"/>
            </a:lvl5pPr>
          </a:lstStyle>
          <a:p>
            <a:pPr lvl="0"/>
            <a:r>
              <a:rPr lang="de-DE" dirty="0"/>
              <a:t>Gruppenmitglied 1, Gruppenmitglied 2, Gruppenmitglied 3, Gruppenmitglied 4,….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C737A0-7C12-CE8C-28B3-B3EA0226EF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3536" t="34572" r="2865" b="48119"/>
          <a:stretch/>
        </p:blipFill>
        <p:spPr>
          <a:xfrm>
            <a:off x="323528" y="3171752"/>
            <a:ext cx="1800200" cy="230831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0F973CED-CC21-A781-E9CE-CA1BDBCE1C34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rgbClr val="003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E5D28B4-D78B-1DCD-8987-A8048C17C41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DE607AD-AEE2-9E9B-FBDD-0756B23556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3536" t="53856" r="2865" b="28994"/>
          <a:stretch/>
        </p:blipFill>
        <p:spPr>
          <a:xfrm>
            <a:off x="1619672" y="3197577"/>
            <a:ext cx="1800200" cy="22870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BBE559D-6178-9D78-C0F7-93A99EB944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3536" t="73230" r="2865" b="10572"/>
          <a:stretch/>
        </p:blipFill>
        <p:spPr>
          <a:xfrm>
            <a:off x="2987824" y="3225075"/>
            <a:ext cx="1800200" cy="216024"/>
          </a:xfrm>
          <a:prstGeom prst="rect">
            <a:avLst/>
          </a:prstGeom>
        </p:spPr>
      </p:pic>
      <p:sp>
        <p:nvSpPr>
          <p:cNvPr id="4" name="Textplatzhalter 14">
            <a:extLst>
              <a:ext uri="{FF2B5EF4-FFF2-40B4-BE49-F238E27FC236}">
                <a16:creationId xmlns:a16="http://schemas.microsoft.com/office/drawing/2014/main" id="{D3914A77-1C47-80F9-7A42-2E33C8746A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168" y="4423598"/>
            <a:ext cx="3905808" cy="230831"/>
          </a:xfrm>
        </p:spPr>
        <p:txBody>
          <a:bodyPr/>
          <a:lstStyle>
            <a:lvl1pPr marL="0" indent="0">
              <a:buNone/>
              <a:defRPr sz="1500"/>
            </a:lvl1pPr>
            <a:lvl2pPr marL="161925" indent="0">
              <a:buNone/>
              <a:defRPr sz="1500"/>
            </a:lvl2pPr>
            <a:lvl3pPr marL="396875" indent="0">
              <a:buNone/>
              <a:defRPr sz="1500"/>
            </a:lvl3pPr>
            <a:lvl4pPr marL="673100" indent="0">
              <a:buNone/>
              <a:defRPr sz="1500"/>
            </a:lvl4pPr>
            <a:lvl5pPr marL="936625" indent="0">
              <a:buNone/>
              <a:defRPr sz="1500"/>
            </a:lvl5pPr>
          </a:lstStyle>
          <a:p>
            <a:pPr lvl="0"/>
            <a:r>
              <a:rPr lang="de-DE" dirty="0"/>
              <a:t>Gruppe x – Name</a:t>
            </a:r>
          </a:p>
        </p:txBody>
      </p:sp>
    </p:spTree>
    <p:extLst>
      <p:ext uri="{BB962C8B-B14F-4D97-AF65-F5344CB8AC3E}">
        <p14:creationId xmlns:p14="http://schemas.microsoft.com/office/powerpoint/2010/main" val="2794797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468314" y="3057525"/>
            <a:ext cx="8207375" cy="1646635"/>
          </a:xfrm>
          <a:solidFill>
            <a:schemeClr val="bg1"/>
          </a:solidFill>
          <a:ln w="127000">
            <a:noFill/>
          </a:ln>
        </p:spPr>
        <p:txBody>
          <a:bodyPr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200">
                <a:solidFill>
                  <a:srgbClr val="003C7C"/>
                </a:solidFill>
              </a:defRPr>
            </a:lvl1pPr>
            <a:lvl2pPr marL="447675" indent="-171450">
              <a:buFont typeface="Wingdings" panose="05000000000000000000" pitchFamily="2" charset="2"/>
              <a:buChar char="§"/>
              <a:defRPr sz="1100">
                <a:solidFill>
                  <a:srgbClr val="003C7C"/>
                </a:solidFill>
              </a:defRPr>
            </a:lvl2pPr>
            <a:lvl3pPr marL="625475" indent="-171450">
              <a:buFont typeface="Wingdings" panose="05000000000000000000" pitchFamily="2" charset="2"/>
              <a:buChar char="§"/>
              <a:defRPr sz="1050">
                <a:solidFill>
                  <a:srgbClr val="003C7C"/>
                </a:solidFill>
              </a:defRPr>
            </a:lvl3pPr>
            <a:lvl4pPr marL="808038" indent="-171450">
              <a:buFont typeface="Wingdings" panose="05000000000000000000" pitchFamily="2" charset="2"/>
              <a:buChar char="§"/>
              <a:defRPr sz="1000">
                <a:solidFill>
                  <a:srgbClr val="003C7C"/>
                </a:solidFill>
              </a:defRPr>
            </a:lvl4pPr>
            <a:lvl5pPr marL="984250" indent="-171450">
              <a:buFont typeface="Wingdings" panose="05000000000000000000" pitchFamily="2" charset="2"/>
              <a:buChar char="§"/>
              <a:defRPr sz="1000">
                <a:solidFill>
                  <a:srgbClr val="003C7C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6"/>
            <a:ext cx="8207376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D254766-2F5E-4FB8-A0E3-499284DC8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06ADFF2E-E1CB-0865-8AD1-D2688BA412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735101238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6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9571" y="-7434"/>
            <a:ext cx="8152639" cy="4709339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8351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6221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3840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3840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3053576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3053576"/>
              <a:gd name="connsiteX1" fmla="*/ 6962794 w 8149451"/>
              <a:gd name="connsiteY1" fmla="*/ 5053 h 3053576"/>
              <a:gd name="connsiteX2" fmla="*/ 6968351 w 8149451"/>
              <a:gd name="connsiteY2" fmla="*/ 1731459 h 3053576"/>
              <a:gd name="connsiteX3" fmla="*/ 8149451 w 8149451"/>
              <a:gd name="connsiteY3" fmla="*/ 1731459 h 3053576"/>
              <a:gd name="connsiteX4" fmla="*/ 8146276 w 8149451"/>
              <a:gd name="connsiteY4" fmla="*/ 3053576 h 3053576"/>
              <a:gd name="connsiteX5" fmla="*/ 1 w 8149451"/>
              <a:gd name="connsiteY5" fmla="*/ 3053576 h 3053576"/>
              <a:gd name="connsiteX6" fmla="*/ 0 w 8149451"/>
              <a:gd name="connsiteY6" fmla="*/ 0 h 3053576"/>
              <a:gd name="connsiteX0" fmla="*/ 0 w 8149451"/>
              <a:gd name="connsiteY0" fmla="*/ 0 h 4704576"/>
              <a:gd name="connsiteX1" fmla="*/ 6962794 w 8149451"/>
              <a:gd name="connsiteY1" fmla="*/ 5053 h 4704576"/>
              <a:gd name="connsiteX2" fmla="*/ 6968351 w 8149451"/>
              <a:gd name="connsiteY2" fmla="*/ 1731459 h 4704576"/>
              <a:gd name="connsiteX3" fmla="*/ 8149451 w 8149451"/>
              <a:gd name="connsiteY3" fmla="*/ 1731459 h 4704576"/>
              <a:gd name="connsiteX4" fmla="*/ 8146276 w 8149451"/>
              <a:gd name="connsiteY4" fmla="*/ 3053576 h 4704576"/>
              <a:gd name="connsiteX5" fmla="*/ 1 w 8149451"/>
              <a:gd name="connsiteY5" fmla="*/ 4704576 h 4704576"/>
              <a:gd name="connsiteX6" fmla="*/ 0 w 8149451"/>
              <a:gd name="connsiteY6" fmla="*/ 0 h 4704576"/>
              <a:gd name="connsiteX0" fmla="*/ 0 w 8152639"/>
              <a:gd name="connsiteY0" fmla="*/ 0 h 4704576"/>
              <a:gd name="connsiteX1" fmla="*/ 6962794 w 8152639"/>
              <a:gd name="connsiteY1" fmla="*/ 5053 h 4704576"/>
              <a:gd name="connsiteX2" fmla="*/ 6968351 w 8152639"/>
              <a:gd name="connsiteY2" fmla="*/ 1731459 h 4704576"/>
              <a:gd name="connsiteX3" fmla="*/ 8149451 w 8152639"/>
              <a:gd name="connsiteY3" fmla="*/ 1731459 h 4704576"/>
              <a:gd name="connsiteX4" fmla="*/ 8152626 w 8152639"/>
              <a:gd name="connsiteY4" fmla="*/ 4704576 h 4704576"/>
              <a:gd name="connsiteX5" fmla="*/ 1 w 8152639"/>
              <a:gd name="connsiteY5" fmla="*/ 4704576 h 4704576"/>
              <a:gd name="connsiteX6" fmla="*/ 0 w 8152639"/>
              <a:gd name="connsiteY6" fmla="*/ 0 h 4704576"/>
              <a:gd name="connsiteX0" fmla="*/ 0 w 8152639"/>
              <a:gd name="connsiteY0" fmla="*/ 0 h 4709338"/>
              <a:gd name="connsiteX1" fmla="*/ 6962794 w 8152639"/>
              <a:gd name="connsiteY1" fmla="*/ 5053 h 4709338"/>
              <a:gd name="connsiteX2" fmla="*/ 6968351 w 8152639"/>
              <a:gd name="connsiteY2" fmla="*/ 1731459 h 4709338"/>
              <a:gd name="connsiteX3" fmla="*/ 8149451 w 8152639"/>
              <a:gd name="connsiteY3" fmla="*/ 1731459 h 4709338"/>
              <a:gd name="connsiteX4" fmla="*/ 8152626 w 8152639"/>
              <a:gd name="connsiteY4" fmla="*/ 4709338 h 4709338"/>
              <a:gd name="connsiteX5" fmla="*/ 1 w 8152639"/>
              <a:gd name="connsiteY5" fmla="*/ 4704576 h 4709338"/>
              <a:gd name="connsiteX6" fmla="*/ 0 w 8152639"/>
              <a:gd name="connsiteY6" fmla="*/ 0 h 4709338"/>
              <a:gd name="connsiteX0" fmla="*/ 0 w 8152639"/>
              <a:gd name="connsiteY0" fmla="*/ 0 h 4747439"/>
              <a:gd name="connsiteX1" fmla="*/ 6962794 w 8152639"/>
              <a:gd name="connsiteY1" fmla="*/ 5053 h 4747439"/>
              <a:gd name="connsiteX2" fmla="*/ 6968351 w 8152639"/>
              <a:gd name="connsiteY2" fmla="*/ 1731459 h 4747439"/>
              <a:gd name="connsiteX3" fmla="*/ 8149451 w 8152639"/>
              <a:gd name="connsiteY3" fmla="*/ 1731459 h 4747439"/>
              <a:gd name="connsiteX4" fmla="*/ 8152626 w 8152639"/>
              <a:gd name="connsiteY4" fmla="*/ 4709338 h 4747439"/>
              <a:gd name="connsiteX5" fmla="*/ 66676 w 8152639"/>
              <a:gd name="connsiteY5" fmla="*/ 4747439 h 4747439"/>
              <a:gd name="connsiteX6" fmla="*/ 0 w 8152639"/>
              <a:gd name="connsiteY6" fmla="*/ 0 h 4747439"/>
              <a:gd name="connsiteX0" fmla="*/ 0 w 8152639"/>
              <a:gd name="connsiteY0" fmla="*/ 0 h 4709339"/>
              <a:gd name="connsiteX1" fmla="*/ 6962794 w 8152639"/>
              <a:gd name="connsiteY1" fmla="*/ 5053 h 4709339"/>
              <a:gd name="connsiteX2" fmla="*/ 6968351 w 8152639"/>
              <a:gd name="connsiteY2" fmla="*/ 1731459 h 4709339"/>
              <a:gd name="connsiteX3" fmla="*/ 8149451 w 8152639"/>
              <a:gd name="connsiteY3" fmla="*/ 1731459 h 4709339"/>
              <a:gd name="connsiteX4" fmla="*/ 8152626 w 8152639"/>
              <a:gd name="connsiteY4" fmla="*/ 4709338 h 4709339"/>
              <a:gd name="connsiteX5" fmla="*/ 7145 w 8152639"/>
              <a:gd name="connsiteY5" fmla="*/ 4709339 h 4709339"/>
              <a:gd name="connsiteX6" fmla="*/ 0 w 8152639"/>
              <a:gd name="connsiteY6" fmla="*/ 0 h 4709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2639" h="4709339">
                <a:moveTo>
                  <a:pt x="0" y="0"/>
                </a:moveTo>
                <a:lnTo>
                  <a:pt x="6962794" y="5053"/>
                </a:lnTo>
                <a:cubicBezTo>
                  <a:pt x="6964646" y="579728"/>
                  <a:pt x="6966499" y="437646"/>
                  <a:pt x="6968351" y="1731459"/>
                </a:cubicBezTo>
                <a:lnTo>
                  <a:pt x="8149451" y="1731459"/>
                </a:lnTo>
                <a:cubicBezTo>
                  <a:pt x="8149186" y="2501397"/>
                  <a:pt x="8152891" y="3939400"/>
                  <a:pt x="8152626" y="4709338"/>
                </a:cubicBezTo>
                <a:lnTo>
                  <a:pt x="7145" y="4709339"/>
                </a:lnTo>
                <a:cubicBezTo>
                  <a:pt x="7145" y="3360661"/>
                  <a:pt x="0" y="1348678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3A4EA9-85E0-E2B1-ED30-4E7245A61F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8527AB9A-76B2-A465-FED6-73B066E55ED7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rgbClr val="003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6ED2EC9-3F0B-95D7-7553-41654D600E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  <p:sp>
        <p:nvSpPr>
          <p:cNvPr id="5" name="Textplatzhalter 3">
            <a:extLst>
              <a:ext uri="{FF2B5EF4-FFF2-40B4-BE49-F238E27FC236}">
                <a16:creationId xmlns:a16="http://schemas.microsoft.com/office/drawing/2014/main" id="{DD749252-11A5-531A-1C7E-F50725337C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3006074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roß Variante">
    <p:bg>
      <p:bgPr>
        <a:solidFill>
          <a:srgbClr val="003C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6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9571" y="-7434"/>
            <a:ext cx="8152639" cy="4709339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8351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6221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3840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3840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3053576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3053576"/>
              <a:gd name="connsiteX1" fmla="*/ 6962794 w 8149451"/>
              <a:gd name="connsiteY1" fmla="*/ 5053 h 3053576"/>
              <a:gd name="connsiteX2" fmla="*/ 6968351 w 8149451"/>
              <a:gd name="connsiteY2" fmla="*/ 1731459 h 3053576"/>
              <a:gd name="connsiteX3" fmla="*/ 8149451 w 8149451"/>
              <a:gd name="connsiteY3" fmla="*/ 1731459 h 3053576"/>
              <a:gd name="connsiteX4" fmla="*/ 8146276 w 8149451"/>
              <a:gd name="connsiteY4" fmla="*/ 3053576 h 3053576"/>
              <a:gd name="connsiteX5" fmla="*/ 1 w 8149451"/>
              <a:gd name="connsiteY5" fmla="*/ 3053576 h 3053576"/>
              <a:gd name="connsiteX6" fmla="*/ 0 w 8149451"/>
              <a:gd name="connsiteY6" fmla="*/ 0 h 3053576"/>
              <a:gd name="connsiteX0" fmla="*/ 0 w 8149451"/>
              <a:gd name="connsiteY0" fmla="*/ 0 h 4704576"/>
              <a:gd name="connsiteX1" fmla="*/ 6962794 w 8149451"/>
              <a:gd name="connsiteY1" fmla="*/ 5053 h 4704576"/>
              <a:gd name="connsiteX2" fmla="*/ 6968351 w 8149451"/>
              <a:gd name="connsiteY2" fmla="*/ 1731459 h 4704576"/>
              <a:gd name="connsiteX3" fmla="*/ 8149451 w 8149451"/>
              <a:gd name="connsiteY3" fmla="*/ 1731459 h 4704576"/>
              <a:gd name="connsiteX4" fmla="*/ 8146276 w 8149451"/>
              <a:gd name="connsiteY4" fmla="*/ 3053576 h 4704576"/>
              <a:gd name="connsiteX5" fmla="*/ 1 w 8149451"/>
              <a:gd name="connsiteY5" fmla="*/ 4704576 h 4704576"/>
              <a:gd name="connsiteX6" fmla="*/ 0 w 8149451"/>
              <a:gd name="connsiteY6" fmla="*/ 0 h 4704576"/>
              <a:gd name="connsiteX0" fmla="*/ 0 w 8152639"/>
              <a:gd name="connsiteY0" fmla="*/ 0 h 4704576"/>
              <a:gd name="connsiteX1" fmla="*/ 6962794 w 8152639"/>
              <a:gd name="connsiteY1" fmla="*/ 5053 h 4704576"/>
              <a:gd name="connsiteX2" fmla="*/ 6968351 w 8152639"/>
              <a:gd name="connsiteY2" fmla="*/ 1731459 h 4704576"/>
              <a:gd name="connsiteX3" fmla="*/ 8149451 w 8152639"/>
              <a:gd name="connsiteY3" fmla="*/ 1731459 h 4704576"/>
              <a:gd name="connsiteX4" fmla="*/ 8152626 w 8152639"/>
              <a:gd name="connsiteY4" fmla="*/ 4704576 h 4704576"/>
              <a:gd name="connsiteX5" fmla="*/ 1 w 8152639"/>
              <a:gd name="connsiteY5" fmla="*/ 4704576 h 4704576"/>
              <a:gd name="connsiteX6" fmla="*/ 0 w 8152639"/>
              <a:gd name="connsiteY6" fmla="*/ 0 h 4704576"/>
              <a:gd name="connsiteX0" fmla="*/ 0 w 8152639"/>
              <a:gd name="connsiteY0" fmla="*/ 0 h 4709338"/>
              <a:gd name="connsiteX1" fmla="*/ 6962794 w 8152639"/>
              <a:gd name="connsiteY1" fmla="*/ 5053 h 4709338"/>
              <a:gd name="connsiteX2" fmla="*/ 6968351 w 8152639"/>
              <a:gd name="connsiteY2" fmla="*/ 1731459 h 4709338"/>
              <a:gd name="connsiteX3" fmla="*/ 8149451 w 8152639"/>
              <a:gd name="connsiteY3" fmla="*/ 1731459 h 4709338"/>
              <a:gd name="connsiteX4" fmla="*/ 8152626 w 8152639"/>
              <a:gd name="connsiteY4" fmla="*/ 4709338 h 4709338"/>
              <a:gd name="connsiteX5" fmla="*/ 1 w 8152639"/>
              <a:gd name="connsiteY5" fmla="*/ 4704576 h 4709338"/>
              <a:gd name="connsiteX6" fmla="*/ 0 w 8152639"/>
              <a:gd name="connsiteY6" fmla="*/ 0 h 4709338"/>
              <a:gd name="connsiteX0" fmla="*/ 0 w 8152639"/>
              <a:gd name="connsiteY0" fmla="*/ 0 h 4747439"/>
              <a:gd name="connsiteX1" fmla="*/ 6962794 w 8152639"/>
              <a:gd name="connsiteY1" fmla="*/ 5053 h 4747439"/>
              <a:gd name="connsiteX2" fmla="*/ 6968351 w 8152639"/>
              <a:gd name="connsiteY2" fmla="*/ 1731459 h 4747439"/>
              <a:gd name="connsiteX3" fmla="*/ 8149451 w 8152639"/>
              <a:gd name="connsiteY3" fmla="*/ 1731459 h 4747439"/>
              <a:gd name="connsiteX4" fmla="*/ 8152626 w 8152639"/>
              <a:gd name="connsiteY4" fmla="*/ 4709338 h 4747439"/>
              <a:gd name="connsiteX5" fmla="*/ 66676 w 8152639"/>
              <a:gd name="connsiteY5" fmla="*/ 4747439 h 4747439"/>
              <a:gd name="connsiteX6" fmla="*/ 0 w 8152639"/>
              <a:gd name="connsiteY6" fmla="*/ 0 h 4747439"/>
              <a:gd name="connsiteX0" fmla="*/ 0 w 8152639"/>
              <a:gd name="connsiteY0" fmla="*/ 0 h 4709339"/>
              <a:gd name="connsiteX1" fmla="*/ 6962794 w 8152639"/>
              <a:gd name="connsiteY1" fmla="*/ 5053 h 4709339"/>
              <a:gd name="connsiteX2" fmla="*/ 6968351 w 8152639"/>
              <a:gd name="connsiteY2" fmla="*/ 1731459 h 4709339"/>
              <a:gd name="connsiteX3" fmla="*/ 8149451 w 8152639"/>
              <a:gd name="connsiteY3" fmla="*/ 1731459 h 4709339"/>
              <a:gd name="connsiteX4" fmla="*/ 8152626 w 8152639"/>
              <a:gd name="connsiteY4" fmla="*/ 4709338 h 4709339"/>
              <a:gd name="connsiteX5" fmla="*/ 7145 w 8152639"/>
              <a:gd name="connsiteY5" fmla="*/ 4709339 h 4709339"/>
              <a:gd name="connsiteX6" fmla="*/ 0 w 8152639"/>
              <a:gd name="connsiteY6" fmla="*/ 0 h 4709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2639" h="4709339">
                <a:moveTo>
                  <a:pt x="0" y="0"/>
                </a:moveTo>
                <a:lnTo>
                  <a:pt x="6962794" y="5053"/>
                </a:lnTo>
                <a:cubicBezTo>
                  <a:pt x="6964646" y="579728"/>
                  <a:pt x="6966499" y="437646"/>
                  <a:pt x="6968351" y="1731459"/>
                </a:cubicBezTo>
                <a:lnTo>
                  <a:pt x="8149451" y="1731459"/>
                </a:lnTo>
                <a:cubicBezTo>
                  <a:pt x="8149186" y="2501397"/>
                  <a:pt x="8152891" y="3939400"/>
                  <a:pt x="8152626" y="4709338"/>
                </a:cubicBezTo>
                <a:lnTo>
                  <a:pt x="7145" y="4709339"/>
                </a:lnTo>
                <a:cubicBezTo>
                  <a:pt x="7145" y="3360661"/>
                  <a:pt x="0" y="1348678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7C193C-2253-EA98-216D-B761CCEDF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0EAA55AE-9E9A-416D-109C-0B49947C6B31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2A1AA79-428C-31A5-A155-11AAF6A088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6082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anz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6569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3556878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50168" y="3507854"/>
            <a:ext cx="7632080" cy="492443"/>
          </a:xfrm>
        </p:spPr>
        <p:txBody>
          <a:bodyPr anchor="t" anchorCtr="0"/>
          <a:lstStyle>
            <a:lvl1pPr algn="l">
              <a:defRPr sz="3200" baseline="0"/>
            </a:lvl1pPr>
          </a:lstStyle>
          <a:p>
            <a:r>
              <a:rPr lang="de-DE" dirty="0"/>
              <a:t>Titel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50168" y="3939902"/>
            <a:ext cx="7632080" cy="492443"/>
          </a:xfrm>
        </p:spPr>
        <p:txBody>
          <a:bodyPr anchor="t" anchorCtr="0"/>
          <a:lstStyle>
            <a:lvl1pPr marL="0" indent="0" algn="l">
              <a:buNone/>
              <a:defRPr sz="3200" b="0" cap="all" baseline="0">
                <a:solidFill>
                  <a:srgbClr val="003C7C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69" y="3180278"/>
            <a:ext cx="3023567" cy="215429"/>
          </a:xfrm>
          <a:prstGeom prst="rect">
            <a:avLst/>
          </a:prstGeom>
        </p:spPr>
      </p:pic>
      <p:sp>
        <p:nvSpPr>
          <p:cNvPr id="9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-9571" y="-7434"/>
            <a:ext cx="8149451" cy="3053576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5970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6276"/>
              <a:gd name="connsiteY0" fmla="*/ 0 h 4046034"/>
              <a:gd name="connsiteX1" fmla="*/ 6962794 w 8146276"/>
              <a:gd name="connsiteY1" fmla="*/ 5053 h 4046034"/>
              <a:gd name="connsiteX2" fmla="*/ 6968351 w 8146276"/>
              <a:gd name="connsiteY2" fmla="*/ 1733840 h 4046034"/>
              <a:gd name="connsiteX3" fmla="*/ 8144689 w 8146276"/>
              <a:gd name="connsiteY3" fmla="*/ 1733840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6221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7070"/>
              <a:gd name="connsiteY0" fmla="*/ 0 h 4046034"/>
              <a:gd name="connsiteX1" fmla="*/ 6962794 w 8147070"/>
              <a:gd name="connsiteY1" fmla="*/ 5053 h 4046034"/>
              <a:gd name="connsiteX2" fmla="*/ 6968351 w 8147070"/>
              <a:gd name="connsiteY2" fmla="*/ 1733840 h 4046034"/>
              <a:gd name="connsiteX3" fmla="*/ 8147070 w 8147070"/>
              <a:gd name="connsiteY3" fmla="*/ 1733840 h 4046034"/>
              <a:gd name="connsiteX4" fmla="*/ 8146276 w 8147070"/>
              <a:gd name="connsiteY4" fmla="*/ 4046034 h 4046034"/>
              <a:gd name="connsiteX5" fmla="*/ 1 w 8147070"/>
              <a:gd name="connsiteY5" fmla="*/ 4046034 h 4046034"/>
              <a:gd name="connsiteX6" fmla="*/ 0 w 8147070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3840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4046034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4046034"/>
              <a:gd name="connsiteX1" fmla="*/ 6962794 w 8149451"/>
              <a:gd name="connsiteY1" fmla="*/ 5053 h 4046034"/>
              <a:gd name="connsiteX2" fmla="*/ 6968351 w 8149451"/>
              <a:gd name="connsiteY2" fmla="*/ 1731459 h 4046034"/>
              <a:gd name="connsiteX3" fmla="*/ 8149451 w 8149451"/>
              <a:gd name="connsiteY3" fmla="*/ 1731459 h 4046034"/>
              <a:gd name="connsiteX4" fmla="*/ 8146276 w 8149451"/>
              <a:gd name="connsiteY4" fmla="*/ 3053576 h 4046034"/>
              <a:gd name="connsiteX5" fmla="*/ 1 w 8149451"/>
              <a:gd name="connsiteY5" fmla="*/ 4046034 h 4046034"/>
              <a:gd name="connsiteX6" fmla="*/ 0 w 8149451"/>
              <a:gd name="connsiteY6" fmla="*/ 0 h 4046034"/>
              <a:gd name="connsiteX0" fmla="*/ 0 w 8149451"/>
              <a:gd name="connsiteY0" fmla="*/ 0 h 3053576"/>
              <a:gd name="connsiteX1" fmla="*/ 6962794 w 8149451"/>
              <a:gd name="connsiteY1" fmla="*/ 5053 h 3053576"/>
              <a:gd name="connsiteX2" fmla="*/ 6968351 w 8149451"/>
              <a:gd name="connsiteY2" fmla="*/ 1731459 h 3053576"/>
              <a:gd name="connsiteX3" fmla="*/ 8149451 w 8149451"/>
              <a:gd name="connsiteY3" fmla="*/ 1731459 h 3053576"/>
              <a:gd name="connsiteX4" fmla="*/ 8146276 w 8149451"/>
              <a:gd name="connsiteY4" fmla="*/ 3053576 h 3053576"/>
              <a:gd name="connsiteX5" fmla="*/ 1 w 8149451"/>
              <a:gd name="connsiteY5" fmla="*/ 3053576 h 3053576"/>
              <a:gd name="connsiteX6" fmla="*/ 0 w 8149451"/>
              <a:gd name="connsiteY6" fmla="*/ 0 h 3053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49451" h="3053576">
                <a:moveTo>
                  <a:pt x="0" y="0"/>
                </a:moveTo>
                <a:lnTo>
                  <a:pt x="6962794" y="5053"/>
                </a:lnTo>
                <a:cubicBezTo>
                  <a:pt x="6964646" y="579728"/>
                  <a:pt x="6966499" y="437646"/>
                  <a:pt x="6968351" y="1731459"/>
                </a:cubicBezTo>
                <a:lnTo>
                  <a:pt x="8149451" y="1731459"/>
                </a:lnTo>
                <a:cubicBezTo>
                  <a:pt x="8149186" y="2501397"/>
                  <a:pt x="8146541" y="2283638"/>
                  <a:pt x="8146276" y="3053576"/>
                </a:cubicBezTo>
                <a:lnTo>
                  <a:pt x="1" y="3053576"/>
                </a:lnTo>
                <a:cubicBezTo>
                  <a:pt x="1" y="1704898"/>
                  <a:pt x="0" y="1348678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034" y="4454380"/>
            <a:ext cx="6131093" cy="230831"/>
          </a:xfrm>
        </p:spPr>
        <p:txBody>
          <a:bodyPr/>
          <a:lstStyle>
            <a:lvl1pPr marL="0" indent="0">
              <a:buNone/>
              <a:defRPr sz="1500"/>
            </a:lvl1pPr>
            <a:lvl2pPr marL="161925" indent="0">
              <a:buNone/>
              <a:defRPr sz="1500"/>
            </a:lvl2pPr>
            <a:lvl3pPr marL="396875" indent="0">
              <a:buNone/>
              <a:defRPr sz="1500"/>
            </a:lvl3pPr>
            <a:lvl4pPr marL="673100" indent="0">
              <a:buNone/>
              <a:defRPr sz="1500"/>
            </a:lvl4pPr>
            <a:lvl5pPr marL="936625" indent="0">
              <a:buNone/>
              <a:defRPr sz="1500"/>
            </a:lvl5pPr>
          </a:lstStyle>
          <a:p>
            <a:pPr lvl="0"/>
            <a:r>
              <a:rPr lang="de-DE" dirty="0"/>
              <a:t>Vielen Dank für Ihre Aufmerksamkei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F5195C4-932A-E9D8-9DC9-D056ED234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EF72449-AF2D-ECA2-DCC4-A43A962E76B6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rgbClr val="003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A9724AB-A967-A33B-73D2-3A56DE56E5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6020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576" y="1203598"/>
            <a:ext cx="7605908" cy="172819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hema des projektes hier eintrag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99792" y="3316275"/>
            <a:ext cx="2879725" cy="311149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Gruppe hier eintragen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699792" y="4011910"/>
            <a:ext cx="2879725" cy="270197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TT.MM.JJJJ</a:t>
            </a:r>
          </a:p>
        </p:txBody>
      </p:sp>
    </p:spTree>
    <p:extLst>
      <p:ext uri="{BB962C8B-B14F-4D97-AF65-F5344CB8AC3E}">
        <p14:creationId xmlns:p14="http://schemas.microsoft.com/office/powerpoint/2010/main" val="3989330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l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921682" y="823909"/>
            <a:ext cx="4032448" cy="379045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[Title, Vor-, Nachname]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43608" y="2931790"/>
            <a:ext cx="6480720" cy="151388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None/>
              <a:tabLst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Vor- Nachname (Matrikel Nr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Vor- Nachname (Matrikel Nr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Vor- Nachname (Matrikel Nr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Vor- Nachname (Matrikel Nr.)</a:t>
            </a:r>
          </a:p>
          <a:p>
            <a:pPr lvl="0"/>
            <a:endParaRPr lang="de-DE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043608" y="2427734"/>
            <a:ext cx="3820392" cy="285669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Teinehmerliste: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40954" y="823910"/>
            <a:ext cx="1885032" cy="379044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Versuchsleiter: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925986" y="1265228"/>
            <a:ext cx="4032448" cy="379045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[Title, Vor-, Nachname]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40954" y="1265229"/>
            <a:ext cx="1874862" cy="379044"/>
          </a:xfrm>
        </p:spPr>
        <p:txBody>
          <a:bodyPr/>
          <a:lstStyle>
            <a:lvl1pPr marL="0" indent="0">
              <a:buNone/>
              <a:defRPr baseline="0"/>
            </a:lvl1pPr>
            <a:lvl2pPr marL="161925" indent="0">
              <a:buNone/>
              <a:defRPr/>
            </a:lvl2pPr>
            <a:lvl3pPr marL="396875" indent="0">
              <a:buNone/>
              <a:defRPr/>
            </a:lvl3pPr>
            <a:lvl4pPr marL="673100" indent="0">
              <a:buNone/>
              <a:defRPr/>
            </a:lvl4pPr>
            <a:lvl5pPr marL="936625" indent="0">
              <a:buNone/>
              <a:defRPr/>
            </a:lvl5pPr>
          </a:lstStyle>
          <a:p>
            <a:pPr lvl="0"/>
            <a:r>
              <a:rPr lang="de-DE" dirty="0"/>
              <a:t>Versuchsbetreuer:</a:t>
            </a:r>
          </a:p>
        </p:txBody>
      </p:sp>
    </p:spTree>
    <p:extLst>
      <p:ext uri="{BB962C8B-B14F-4D97-AF65-F5344CB8AC3E}">
        <p14:creationId xmlns:p14="http://schemas.microsoft.com/office/powerpoint/2010/main" val="1239585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52C0B9A-F654-4E06-A926-AA4D7ECE16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4" y="1303735"/>
            <a:ext cx="8207375" cy="3400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D7E42A-514C-474E-91A0-815203FA1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85906"/>
            <a:ext cx="7056015" cy="49617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22382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rstell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68313" y="185906"/>
            <a:ext cx="4391720" cy="1107995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68313" y="1707653"/>
            <a:ext cx="4391720" cy="302389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5292726" y="0"/>
            <a:ext cx="3851275" cy="51435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4726161"/>
            <a:ext cx="4751388" cy="216932"/>
          </a:xfrm>
        </p:spPr>
        <p:txBody>
          <a:bodyPr/>
          <a:lstStyle>
            <a:lvl1pPr marL="0" indent="0" algn="l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2831817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rstell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283968" y="185906"/>
            <a:ext cx="4391720" cy="1107995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283968" y="1707653"/>
            <a:ext cx="4391720" cy="302389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3864595" cy="51435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1392735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1E088F-030E-83E6-67E4-E7DB418310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0E99EF6-11E0-0109-0D2B-9D47BBDB201F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FC5B015-0224-B9F3-2FC0-8E7C352401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790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555875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643438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732588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73371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7" name="Bildplatzhalter 6"/>
          <p:cNvSpPr>
            <a:spLocks noGrp="1"/>
          </p:cNvSpPr>
          <p:nvPr>
            <p:ph type="pic" sz="quarter" idx="18"/>
          </p:nvPr>
        </p:nvSpPr>
        <p:spPr>
          <a:xfrm>
            <a:off x="2555875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19"/>
          </p:nvPr>
        </p:nvSpPr>
        <p:spPr>
          <a:xfrm>
            <a:off x="4643438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9" name="Bildplatzhalter 6"/>
          <p:cNvSpPr>
            <a:spLocks noGrp="1"/>
          </p:cNvSpPr>
          <p:nvPr>
            <p:ph type="pic" sz="quarter" idx="20"/>
          </p:nvPr>
        </p:nvSpPr>
        <p:spPr>
          <a:xfrm>
            <a:off x="6728121" y="3057525"/>
            <a:ext cx="1943100" cy="164663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B5BF884-F57B-478B-AC6E-677CF33D3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924300" y="4731990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339852203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rstell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7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8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MIO_LOGOPLACEHOLDER#Zusätzliches Logo" hidden="1"/>
          <p:cNvSpPr>
            <a:spLocks/>
          </p:cNvSpPr>
          <p:nvPr userDrawn="1"/>
        </p:nvSpPr>
        <p:spPr>
          <a:xfrm>
            <a:off x="6955096" y="0"/>
            <a:ext cx="1728000" cy="172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o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2903902-6AA9-B5E3-E607-47C2135A1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256" y="0"/>
            <a:ext cx="1727200" cy="17272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6F5CB8A6-6738-EF02-857A-928915B13FD1}"/>
              </a:ext>
            </a:extLst>
          </p:cNvPr>
          <p:cNvSpPr/>
          <p:nvPr userDrawn="1"/>
        </p:nvSpPr>
        <p:spPr>
          <a:xfrm>
            <a:off x="6949256" y="0"/>
            <a:ext cx="1727200" cy="17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F987CFC-FF03-C917-92A0-36F78FCAC3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768" t="7144" r="68577" b="10572"/>
          <a:stretch/>
        </p:blipFill>
        <p:spPr>
          <a:xfrm>
            <a:off x="7233424" y="40213"/>
            <a:ext cx="1174744" cy="16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881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313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 dirty="0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555875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643438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2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732588" y="1303736"/>
            <a:ext cx="1943100" cy="1646634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473371" y="3057525"/>
            <a:ext cx="1938042" cy="1646635"/>
          </a:xfrm>
          <a:solidFill>
            <a:schemeClr val="bg1"/>
          </a:solidFill>
          <a:ln w="127000"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8"/>
          </p:nvPr>
        </p:nvSpPr>
        <p:spPr>
          <a:xfrm>
            <a:off x="2555875" y="3057525"/>
            <a:ext cx="1943100" cy="1646635"/>
          </a:xfrm>
          <a:solidFill>
            <a:schemeClr val="bg1"/>
          </a:solidFill>
          <a:ln w="127000"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7" name="Inhaltsplatzhalter 10"/>
          <p:cNvSpPr>
            <a:spLocks noGrp="1"/>
          </p:cNvSpPr>
          <p:nvPr>
            <p:ph sz="quarter" idx="19"/>
          </p:nvPr>
        </p:nvSpPr>
        <p:spPr>
          <a:xfrm>
            <a:off x="4643438" y="3057525"/>
            <a:ext cx="1943100" cy="1646635"/>
          </a:xfrm>
          <a:solidFill>
            <a:schemeClr val="bg1"/>
          </a:solidFill>
          <a:ln w="127000"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20"/>
          </p:nvPr>
        </p:nvSpPr>
        <p:spPr>
          <a:xfrm>
            <a:off x="6728121" y="3057525"/>
            <a:ext cx="1943100" cy="1646635"/>
          </a:xfrm>
          <a:solidFill>
            <a:schemeClr val="bg1"/>
          </a:solidFill>
          <a:ln w="127000"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1200">
                <a:solidFill>
                  <a:srgbClr val="003C7C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 marL="1828800" indent="0"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586846-A945-48A5-BF18-4AD768499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3923266473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2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7236A6-63FE-4CB7-A8E6-70320DA13024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041" y="1299864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2555604" y="1299864"/>
            <a:ext cx="1944687" cy="218827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43166" y="1299864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5"/>
          </p:nvPr>
        </p:nvSpPr>
        <p:spPr>
          <a:xfrm>
            <a:off x="6732316" y="1299864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6"/>
          </p:nvPr>
        </p:nvSpPr>
        <p:spPr>
          <a:xfrm>
            <a:off x="468312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27"/>
          </p:nvPr>
        </p:nvSpPr>
        <p:spPr>
          <a:xfrm>
            <a:off x="2555875" y="3057525"/>
            <a:ext cx="1944116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28"/>
          </p:nvPr>
        </p:nvSpPr>
        <p:spPr>
          <a:xfrm>
            <a:off x="4643437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29"/>
          </p:nvPr>
        </p:nvSpPr>
        <p:spPr>
          <a:xfrm>
            <a:off x="6732587" y="3055392"/>
            <a:ext cx="1943100" cy="216694"/>
          </a:xfrm>
          <a:solidFill>
            <a:srgbClr val="003C7C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  <a:lvl2pPr marL="457200" indent="0" algn="ct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 sz="1100">
                <a:solidFill>
                  <a:schemeClr val="bg1"/>
                </a:solidFill>
              </a:defRPr>
            </a:lvl3pPr>
            <a:lvl4pPr marL="1371600" indent="0" algn="ctr">
              <a:buNone/>
              <a:defRPr sz="1050">
                <a:solidFill>
                  <a:schemeClr val="bg1"/>
                </a:solidFill>
              </a:defRPr>
            </a:lvl4pPr>
            <a:lvl5pPr marL="1828800" indent="0" algn="ctr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  <p:sp>
        <p:nvSpPr>
          <p:cNvPr id="2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041" y="1516093"/>
            <a:ext cx="1943100" cy="1434276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de-DE"/>
            </a:lvl1pPr>
          </a:lstStyle>
          <a:p>
            <a:endParaRPr lang="de-DE"/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30"/>
          </p:nvPr>
        </p:nvSpPr>
        <p:spPr>
          <a:xfrm>
            <a:off x="2557191" y="1516093"/>
            <a:ext cx="1943100" cy="1434276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de-DE"/>
            </a:lvl1pPr>
          </a:lstStyle>
          <a:p>
            <a:endParaRPr lang="de-DE"/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31"/>
          </p:nvPr>
        </p:nvSpPr>
        <p:spPr>
          <a:xfrm>
            <a:off x="4643166" y="1516093"/>
            <a:ext cx="1943100" cy="1434276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de-DE"/>
            </a:lvl1pPr>
          </a:lstStyle>
          <a:p>
            <a:endParaRPr lang="de-DE"/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32"/>
          </p:nvPr>
        </p:nvSpPr>
        <p:spPr>
          <a:xfrm>
            <a:off x="6732316" y="1516093"/>
            <a:ext cx="1943100" cy="1434276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de-DE"/>
            </a:lvl1pPr>
          </a:lstStyle>
          <a:p>
            <a:endParaRPr lang="de-DE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33"/>
          </p:nvPr>
        </p:nvSpPr>
        <p:spPr>
          <a:xfrm>
            <a:off x="468312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4" name="Bildplatzhalter 6"/>
          <p:cNvSpPr>
            <a:spLocks noGrp="1"/>
          </p:cNvSpPr>
          <p:nvPr>
            <p:ph type="pic" sz="quarter" idx="34"/>
          </p:nvPr>
        </p:nvSpPr>
        <p:spPr>
          <a:xfrm>
            <a:off x="2557462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5" name="Bildplatzhalter 6"/>
          <p:cNvSpPr>
            <a:spLocks noGrp="1"/>
          </p:cNvSpPr>
          <p:nvPr>
            <p:ph type="pic" sz="quarter" idx="35"/>
          </p:nvPr>
        </p:nvSpPr>
        <p:spPr>
          <a:xfrm>
            <a:off x="4643437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6" name="Bildplatzhalter 6"/>
          <p:cNvSpPr>
            <a:spLocks noGrp="1"/>
          </p:cNvSpPr>
          <p:nvPr>
            <p:ph type="pic" sz="quarter" idx="36"/>
          </p:nvPr>
        </p:nvSpPr>
        <p:spPr>
          <a:xfrm>
            <a:off x="6732587" y="3271620"/>
            <a:ext cx="1943100" cy="143254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653E14C-4E9A-46CF-9D57-E24B602C1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24300" y="4726161"/>
            <a:ext cx="4751388" cy="216932"/>
          </a:xfrm>
        </p:spPr>
        <p:txBody>
          <a:bodyPr/>
          <a:lstStyle>
            <a:lvl1pPr marL="0" indent="0" algn="r">
              <a:buNone/>
              <a:defRPr sz="800" b="0">
                <a:solidFill>
                  <a:srgbClr val="00B0F0"/>
                </a:solidFill>
              </a:defRPr>
            </a:lvl1pPr>
            <a:lvl2pPr marL="161925" indent="0">
              <a:buNone/>
              <a:defRPr/>
            </a:lvl2pPr>
          </a:lstStyle>
          <a:p>
            <a:pPr lvl="0"/>
            <a:r>
              <a:rPr lang="de-DE" dirty="0"/>
              <a:t>[Quelle]</a:t>
            </a:r>
          </a:p>
        </p:txBody>
      </p:sp>
    </p:spTree>
    <p:extLst>
      <p:ext uri="{BB962C8B-B14F-4D97-AF65-F5344CB8AC3E}">
        <p14:creationId xmlns:p14="http://schemas.microsoft.com/office/powerpoint/2010/main" val="1855986438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4948238"/>
            <a:ext cx="9144000" cy="1952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300" b="0" i="0" u="none" baseline="0" dirty="0">
              <a:solidFill>
                <a:srgbClr val="53534F"/>
              </a:solidFill>
              <a:latin typeface="Calibri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185906"/>
            <a:ext cx="7605908" cy="4961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4" y="1303735"/>
            <a:ext cx="8207375" cy="3400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4328" y="4949270"/>
            <a:ext cx="1151360" cy="16181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rgbClr val="53534F"/>
                </a:solidFill>
              </a:defRPr>
            </a:lvl1pPr>
          </a:lstStyle>
          <a:p>
            <a:fld id="{0A7236A6-63FE-4CB7-A8E6-70320DA1302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feld 10"/>
          <p:cNvSpPr txBox="1"/>
          <p:nvPr userDrawn="1">
            <p:custDataLst>
              <p:tags r:id="rId30"/>
            </p:custDataLst>
          </p:nvPr>
        </p:nvSpPr>
        <p:spPr>
          <a:xfrm>
            <a:off x="468313" y="4986114"/>
            <a:ext cx="32403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sv-SE" sz="800" b="1" dirty="0">
                <a:solidFill>
                  <a:srgbClr val="53534F"/>
                </a:solidFill>
              </a:rPr>
              <a:t>Prof. Dr.-Ing. Lars N. Josler</a:t>
            </a:r>
            <a:endParaRPr lang="de-DE" sz="800" b="1" dirty="0">
              <a:solidFill>
                <a:srgbClr val="53534F"/>
              </a:solidFill>
            </a:endParaRPr>
          </a:p>
        </p:txBody>
      </p:sp>
      <p:sp>
        <p:nvSpPr>
          <p:cNvPr id="12" name="Textfeld 11"/>
          <p:cNvSpPr txBox="1"/>
          <p:nvPr userDrawn="1">
            <p:custDataLst>
              <p:tags r:id="rId31"/>
            </p:custDataLst>
          </p:nvPr>
        </p:nvSpPr>
        <p:spPr>
          <a:xfrm>
            <a:off x="3851920" y="4986114"/>
            <a:ext cx="32403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800" b="1" dirty="0">
                <a:solidFill>
                  <a:srgbClr val="53534F"/>
                </a:solidFill>
              </a:rPr>
              <a:t>Vorlesung: Gebäudeautomation – THGA</a:t>
            </a:r>
          </a:p>
        </p:txBody>
      </p:sp>
      <p:sp>
        <p:nvSpPr>
          <p:cNvPr id="14" name="MIO_LOGOPLACEHOLDER#RUB" hidden="1"/>
          <p:cNvSpPr/>
          <p:nvPr userDrawn="1"/>
        </p:nvSpPr>
        <p:spPr>
          <a:xfrm>
            <a:off x="7237064" y="250031"/>
            <a:ext cx="1295376" cy="432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o 2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rgbClr val="003C7C"/>
              </a:solidFill>
            </a:endParaRPr>
          </a:p>
        </p:txBody>
      </p:sp>
      <p:sp>
        <p:nvSpPr>
          <p:cNvPr id="5" name="empower - DO NOT DELETE!!!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CBC94B7-EE26-F78B-DA2D-F615D118B3B4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rcRect l="1445" r="66770" b="7972"/>
          <a:stretch/>
        </p:blipFill>
        <p:spPr>
          <a:xfrm>
            <a:off x="8074221" y="141811"/>
            <a:ext cx="567201" cy="77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298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718" r:id="rId2"/>
    <p:sldLayoutId id="2147483712" r:id="rId3"/>
    <p:sldLayoutId id="2147483713" r:id="rId4"/>
    <p:sldLayoutId id="2147483716" r:id="rId5"/>
    <p:sldLayoutId id="2147483689" r:id="rId6"/>
    <p:sldLayoutId id="2147483714" r:id="rId7"/>
    <p:sldLayoutId id="2147483706" r:id="rId8"/>
    <p:sldLayoutId id="2147483696" r:id="rId9"/>
    <p:sldLayoutId id="2147483708" r:id="rId10"/>
    <p:sldLayoutId id="2147483688" r:id="rId11"/>
    <p:sldLayoutId id="2147483707" r:id="rId12"/>
    <p:sldLayoutId id="2147483695" r:id="rId13"/>
    <p:sldLayoutId id="2147483693" r:id="rId14"/>
    <p:sldLayoutId id="2147483697" r:id="rId15"/>
    <p:sldLayoutId id="2147483694" r:id="rId16"/>
    <p:sldLayoutId id="2147483690" r:id="rId17"/>
    <p:sldLayoutId id="2147483691" r:id="rId18"/>
    <p:sldLayoutId id="2147483705" r:id="rId19"/>
    <p:sldLayoutId id="2147483692" r:id="rId20"/>
    <p:sldLayoutId id="2147483698" r:id="rId21"/>
    <p:sldLayoutId id="2147483699" r:id="rId22"/>
    <p:sldLayoutId id="2147483703" r:id="rId23"/>
    <p:sldLayoutId id="2147483709" r:id="rId24"/>
    <p:sldLayoutId id="2147483719" r:id="rId25"/>
    <p:sldLayoutId id="2147483723" r:id="rId26"/>
    <p:sldLayoutId id="2147483724" r:id="rId27"/>
    <p:sldLayoutId id="2147483725" r:id="rId28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cap="all" baseline="0">
          <a:solidFill>
            <a:srgbClr val="003C7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F0"/>
        </a:buClr>
        <a:buFont typeface="Wingdings" panose="05000000000000000000" pitchFamily="2" charset="2"/>
        <a:buChar char="§"/>
        <a:defRPr sz="1600" b="1" kern="1200">
          <a:solidFill>
            <a:srgbClr val="003C7C"/>
          </a:solidFill>
          <a:latin typeface="+mn-lt"/>
          <a:ea typeface="+mn-ea"/>
          <a:cs typeface="+mn-cs"/>
        </a:defRPr>
      </a:lvl1pPr>
      <a:lvl2pPr marL="447675" indent="-285750" algn="l" defTabSz="914400" rtl="0" eaLnBrk="1" latinLnBrk="0" hangingPunct="1">
        <a:spcBef>
          <a:spcPct val="20000"/>
        </a:spcBef>
        <a:buClr>
          <a:srgbClr val="00B0F0"/>
        </a:buClr>
        <a:buFont typeface="Wingdings" panose="05000000000000000000" pitchFamily="2" charset="2"/>
        <a:buChar char="§"/>
        <a:defRPr sz="1400" b="0" kern="1200">
          <a:solidFill>
            <a:srgbClr val="003C7C"/>
          </a:solidFill>
          <a:latin typeface="+mn-lt"/>
          <a:ea typeface="+mn-ea"/>
          <a:cs typeface="+mn-cs"/>
        </a:defRPr>
      </a:lvl2pPr>
      <a:lvl3pPr marL="625475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anose="05000000000000000000" pitchFamily="2" charset="2"/>
        <a:buChar char="§"/>
        <a:defRPr sz="1200" b="0" kern="1200">
          <a:solidFill>
            <a:srgbClr val="003C7C"/>
          </a:solidFill>
          <a:latin typeface="+mn-lt"/>
          <a:ea typeface="+mn-ea"/>
          <a:cs typeface="+mn-cs"/>
        </a:defRPr>
      </a:lvl3pPr>
      <a:lvl4pPr marL="9017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anose="05000000000000000000" pitchFamily="2" charset="2"/>
        <a:buChar char="§"/>
        <a:defRPr sz="1100" b="0" kern="1200">
          <a:solidFill>
            <a:srgbClr val="003C7C"/>
          </a:solidFill>
          <a:latin typeface="+mn-lt"/>
          <a:ea typeface="+mn-ea"/>
          <a:cs typeface="+mn-cs"/>
        </a:defRPr>
      </a:lvl4pPr>
      <a:lvl5pPr marL="1165225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anose="05000000000000000000" pitchFamily="2" charset="2"/>
        <a:buChar char="§"/>
        <a:tabLst/>
        <a:defRPr sz="1100" b="0" kern="1200">
          <a:solidFill>
            <a:srgbClr val="003C7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94" userDrawn="1">
          <p15:clr>
            <a:srgbClr val="F26B43"/>
          </p15:clr>
        </p15:guide>
        <p15:guide id="3" pos="5466" userDrawn="1">
          <p15:clr>
            <a:srgbClr val="F26B43"/>
          </p15:clr>
        </p15:guide>
        <p15:guide id="5" orient="horz" pos="821" userDrawn="1">
          <p15:clr>
            <a:srgbClr val="F26B43"/>
          </p15:clr>
        </p15:guide>
        <p15:guide id="7" orient="horz" pos="29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0DECE4-E02C-1E0A-236B-69C4845CB9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0168" y="3507854"/>
            <a:ext cx="7632080" cy="86409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B961A04-CA60-23BC-E624-ABE8A319D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01FEBB3-8A17-9A36-FD1B-AE020ADCD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357A8FA-AE9A-BA52-B640-FA13D8E44C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7038A2-E7DB-F6B0-9CD5-7EB7693D52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F0104C-2595-6D7E-B556-8711AD4FA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26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81E781-89D3-025F-4604-BD04205E3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87C623-10DE-4222-9C3C-CC6FCA996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A7236A6-63FE-4CB7-A8E6-70320DA13024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0964" name="Rectangle 3">
            <a:extLst>
              <a:ext uri="{FF2B5EF4-FFF2-40B4-BE49-F238E27FC236}">
                <a16:creationId xmlns:a16="http://schemas.microsoft.com/office/drawing/2014/main" id="{623010A9-E6C2-A454-E3BC-1F0867EC742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68315" y="1303735"/>
            <a:ext cx="4824410" cy="3400425"/>
          </a:xfrm>
        </p:spPr>
        <p:txBody>
          <a:bodyPr/>
          <a:lstStyle/>
          <a:p>
            <a:r>
              <a:rPr lang="de-DE" sz="1800" dirty="0">
                <a:solidFill>
                  <a:srgbClr val="92D050"/>
                </a:solidFill>
              </a:rPr>
              <a:t>Thema 1</a:t>
            </a:r>
          </a:p>
          <a:p>
            <a:r>
              <a:rPr lang="de-DE" sz="1800" dirty="0">
                <a:solidFill>
                  <a:srgbClr val="003560"/>
                </a:solidFill>
              </a:rPr>
              <a:t>Thema 2</a:t>
            </a:r>
          </a:p>
          <a:p>
            <a:r>
              <a:rPr lang="de-DE" sz="1800" dirty="0">
                <a:solidFill>
                  <a:srgbClr val="003560"/>
                </a:solidFill>
              </a:rPr>
              <a:t>Thema 3</a:t>
            </a:r>
          </a:p>
          <a:p>
            <a:r>
              <a:rPr lang="de-DE" sz="1800" dirty="0">
                <a:solidFill>
                  <a:srgbClr val="003560"/>
                </a:solidFill>
              </a:rPr>
              <a:t>Thema 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3B2FC1-FD44-2B52-7F80-A0E540C0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</a:t>
            </a:r>
            <a:r>
              <a:rPr lang="de-DE"/>
              <a:t>Des Vortrag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FAFC12E-AD23-45DB-8FE9-34FD5D287E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46538" t="-67" r="24523" b="67"/>
          <a:stretch/>
        </p:blipFill>
        <p:spPr>
          <a:xfrm>
            <a:off x="5292723" y="-22541"/>
            <a:ext cx="3851275" cy="498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5016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68E612E-2C0E-9EE6-3557-BC78977410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A8A43EE-A343-D614-64EA-7A54A35A2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E9AAD8D-10D5-7695-9666-59D9C8D96D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4283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Vortragende(r);Bitte geben Sie hier den Namen des/ der Vortragenden ein.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fo;Hier können Sie weitere Informationen angeben."/>
  <p:tag name="MIO_USER_INPUT_OPTIONAL" val=" "/>
  <p:tag name="MIO_USER_INPUT_TEXT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4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25"/>
  <p:tag name="MIO_HDS" val="True"/>
  <p:tag name="MIO_SKIPVERSION" val="01.01.0001 00:00:00"/>
  <p:tag name="MIO_EKGUID" val="ce7b0081-39d7-4842-9600-64f1389ef03e"/>
  <p:tag name="MIO_UPDATE" val="True"/>
  <p:tag name="MIO_VERSION" val="02.01.2018 15:23:53"/>
  <p:tag name="MIO_DBID" val="364BA404-45B5-45E1-875B-889C83467CBF"/>
  <p:tag name="MIO_LASTDOWNLOADED" val="07.06.2018 14:26:57"/>
  <p:tag name="MIO_OBJECTNAME" val="Master 16:9 RUB Bochum 16:9"/>
  <p:tag name="MIO_LASTEDITORNAME" val="Hannah Raspe"/>
  <p:tag name="MIO_CDID" val="79247db1-c909-4b67-a10d-e55986eab9d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5"/>
  <p:tag name="MIO_HDS" val="True"/>
  <p:tag name="MIO_SKIPVERSION" val="01.01.0001 00:00:00"/>
  <p:tag name="MIO_EKGUID" val="160aaded-0aa7-4ab1-9fe0-32153bcdca59"/>
  <p:tag name="MIO_UPDATE" val="True"/>
  <p:tag name="MIO_VERSION" val="30.07.2018 09:18:40"/>
  <p:tag name="MIO_DBID" val="364BA404-45B5-45E1-875B-889C83467CBF"/>
  <p:tag name="MIO_LASTDOWNLOADED" val="21.05.2019 15:54:18"/>
  <p:tag name="MIO_OBJECTNAME" val="189739LPS Master 16:9"/>
  <p:tag name="MIO_CDID" val="79247db1-c909-4b67-a10d-e55986eab9de"/>
</p:tagLst>
</file>

<file path=ppt/theme/theme1.xml><?xml version="1.0" encoding="utf-8"?>
<a:theme xmlns:a="http://schemas.openxmlformats.org/drawingml/2006/main" name="Master RUB Bochum">
  <a:themeElements>
    <a:clrScheme name="Custom 1">
      <a:dk1>
        <a:srgbClr val="000000"/>
      </a:dk1>
      <a:lt1>
        <a:srgbClr val="FFFFFF"/>
      </a:lt1>
      <a:dk2>
        <a:srgbClr val="003560"/>
      </a:dk2>
      <a:lt2>
        <a:srgbClr val="E6E5E5"/>
      </a:lt2>
      <a:accent1>
        <a:srgbClr val="003560"/>
      </a:accent1>
      <a:accent2>
        <a:srgbClr val="003560"/>
      </a:accent2>
      <a:accent3>
        <a:srgbClr val="003560"/>
      </a:accent3>
      <a:accent4>
        <a:srgbClr val="003560"/>
      </a:accent4>
      <a:accent5>
        <a:srgbClr val="003560"/>
      </a:accent5>
      <a:accent6>
        <a:srgbClr val="003560"/>
      </a:accent6>
      <a:hlink>
        <a:srgbClr val="003560"/>
      </a:hlink>
      <a:folHlink>
        <a:srgbClr val="003560"/>
      </a:folHlink>
    </a:clrScheme>
    <a:fontScheme name="RUB LP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 marL="0" indent="0" algn="r">
          <a:buNone/>
          <a:defRPr sz="800" b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</Words>
  <Application>Microsoft Office PowerPoint</Application>
  <PresentationFormat>Bildschirmpräsentation (16:9)</PresentationFormat>
  <Paragraphs>7</Paragraphs>
  <Slides>3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kkurat Office</vt:lpstr>
      <vt:lpstr>Arial</vt:lpstr>
      <vt:lpstr>Calibri</vt:lpstr>
      <vt:lpstr>Wingdings</vt:lpstr>
      <vt:lpstr>Master RUB Bochum</vt:lpstr>
      <vt:lpstr>PowerPoint-Präsentation</vt:lpstr>
      <vt:lpstr>INHALT Des Vortrags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rs Niklas Penczek</dc:creator>
  <cp:lastModifiedBy>Josler, Lars Niklas</cp:lastModifiedBy>
  <cp:revision>510</cp:revision>
  <dcterms:created xsi:type="dcterms:W3CDTF">2017-06-06T12:15:59Z</dcterms:created>
  <dcterms:modified xsi:type="dcterms:W3CDTF">2026-03-26T09:29:57Z</dcterms:modified>
</cp:coreProperties>
</file>